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94" d="100"/>
          <a:sy n="94" d="100"/>
        </p:scale>
        <p:origin x="432" y="31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CE_INPI_V2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CE_INPI_V2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CE_INPI_V2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CE_INPI_V2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CE_INPI_V2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CE_INPI_V2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3C01857-E614-47D6-A405-2D64E75C378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F566EEF-1A76-4F15-B1F0-82746956C615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7BB93F3-61C5-421F-B0F5-D6C8C2337D5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B22F4D1-F282-412F-92C0-883E443D2D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BC183043-9B4B-4F54-94F8-DE295DD3315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9779D84-4050-4043-B92C-30598DEC493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4C1035D-9F74-4DBA-B4A7-3BDFA0B8C15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B041C2E-AEB4-4683-A7C2-785B5FA5E7A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F356106C-D633-4151-AAC7-EF8F2F9D9ED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62A8EAC-1EE4-4B95-8B3B-5831E5DA526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D0EB0B0E-7E13-4B1F-AE11-E4C65D4B673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0114942-5069-4B0D-A3B9-38C990B272C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2A4819D-AF9C-475E-A2E0-3EFAE6BF32F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2F0DF76-DECD-4715-8EF6-A1FE02A54B3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5CF556F-63C9-43C9-A29E-BD0B3243EC3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8D4085EA-CBDC-49C5-9C63-DD39B34AD50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F160BFF-EAFD-4E1A-9A62-0932D4E807E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4DE7EA0-68C9-4E21-9578-6D1C61F2C4C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7B34239-0A46-481E-9913-E68B768AF37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3211E43-1C35-40A8-9768-D6A0B9FD88DE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BB9E062-FE6E-4FA2-9185-F1B704D66B6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5625F87-C59D-4AB1-AACE-D2EEC544F67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2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8</cp:revision>
  <dcterms:created xsi:type="dcterms:W3CDTF">2025-05-09T11:21:43Z</dcterms:created>
  <dcterms:modified xsi:type="dcterms:W3CDTF">2025-10-02T11:57:35Z</dcterms:modified>
</cp:coreProperties>
</file>